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830" r:id="rId2"/>
    <p:sldId id="831" r:id="rId3"/>
    <p:sldId id="835" r:id="rId4"/>
    <p:sldId id="837" r:id="rId5"/>
    <p:sldId id="836" r:id="rId6"/>
    <p:sldId id="838" r:id="rId7"/>
    <p:sldId id="839" r:id="rId8"/>
    <p:sldId id="309" r:id="rId9"/>
    <p:sldId id="829" r:id="rId10"/>
    <p:sldId id="307" r:id="rId11"/>
    <p:sldId id="827" r:id="rId12"/>
    <p:sldId id="313" r:id="rId13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1" d="100"/>
          <a:sy n="81" d="100"/>
        </p:scale>
        <p:origin x="1426" y="5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#5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83304D7-6E5D-473F-A09C-61CA892572B6}" type="presOf" srcId="{8380A261-4409-4C6B-8A07-0D64C5422F6D}" destId="{EB789FCB-B92C-4A52-BB06-4A95FA62001B}" srcOrd="1" destOrd="0" presId="urn:microsoft.com/office/officeart/2005/8/layout/pyramid1"/>
    <dgm:cxn modelId="{AF00D5F7-EB66-4534-ADAD-5E411AADA757}" type="presOf" srcId="{CBB2EDB4-08BF-49DB-9282-C363CE23E3D0}" destId="{8064A9E2-4365-4891-A563-4210D9FE6047}" srcOrd="1" destOrd="0" presId="urn:microsoft.com/office/officeart/2005/8/layout/pyramid1"/>
    <dgm:cxn modelId="{E973BE26-0F54-4F21-939E-5F3FDD5A988B}" type="presOf" srcId="{F014B99B-BC0F-4D51-AA35-03139CBC5BDF}" destId="{47753778-DDCD-4F66-8671-0963E55AC1AB}" srcOrd="0" destOrd="0" presId="urn:microsoft.com/office/officeart/2005/8/layout/pyramid1"/>
    <dgm:cxn modelId="{EA86ED42-6A90-4B81-BA1F-805CC769B6E9}" type="presOf" srcId="{C055D918-0D48-44D3-9287-CAE1B93EB64A}" destId="{8C222443-D6D5-437E-8A06-7845FF64044F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04B51F2A-C1FB-4842-98EF-A4DFDDAE3732}" type="presOf" srcId="{CBB2EDB4-08BF-49DB-9282-C363CE23E3D0}" destId="{7099C5AD-A666-455F-9144-31509FAE35FB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CC6C33D5-971E-4B3D-804F-EEEC9E6B2692}" type="presOf" srcId="{F014B99B-BC0F-4D51-AA35-03139CBC5BDF}" destId="{158BBE6D-1C8E-4142-827F-B1B32D20364B}" srcOrd="1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A7159F69-0B3C-4263-9CDF-505883578833}" type="presOf" srcId="{8380A261-4409-4C6B-8A07-0D64C5422F6D}" destId="{3405B94A-B110-4EB0-B99D-680A85764021}" srcOrd="0" destOrd="0" presId="urn:microsoft.com/office/officeart/2005/8/layout/pyramid1"/>
    <dgm:cxn modelId="{776D1F11-FBFF-4672-8524-4A1C1EF57120}" type="presParOf" srcId="{8C222443-D6D5-437E-8A06-7845FF64044F}" destId="{8E592AC7-B094-488F-86DE-8B46AA43A5F7}" srcOrd="0" destOrd="0" presId="urn:microsoft.com/office/officeart/2005/8/layout/pyramid1"/>
    <dgm:cxn modelId="{25A07EA2-F265-4258-B148-CCDC2DCB67CD}" type="presParOf" srcId="{8E592AC7-B094-488F-86DE-8B46AA43A5F7}" destId="{47753778-DDCD-4F66-8671-0963E55AC1AB}" srcOrd="0" destOrd="0" presId="urn:microsoft.com/office/officeart/2005/8/layout/pyramid1"/>
    <dgm:cxn modelId="{89DA8EC3-ECBE-4AAF-8A59-7D29BCFA7530}" type="presParOf" srcId="{8E592AC7-B094-488F-86DE-8B46AA43A5F7}" destId="{158BBE6D-1C8E-4142-827F-B1B32D20364B}" srcOrd="1" destOrd="0" presId="urn:microsoft.com/office/officeart/2005/8/layout/pyramid1"/>
    <dgm:cxn modelId="{2B945DB0-2D4E-4D9C-9D9C-255460EEC0C9}" type="presParOf" srcId="{8C222443-D6D5-437E-8A06-7845FF64044F}" destId="{08609C55-E487-4600-AFD0-8994D3888F22}" srcOrd="1" destOrd="0" presId="urn:microsoft.com/office/officeart/2005/8/layout/pyramid1"/>
    <dgm:cxn modelId="{12D447AB-405F-4178-930D-2DE10C4E4708}" type="presParOf" srcId="{08609C55-E487-4600-AFD0-8994D3888F22}" destId="{7099C5AD-A666-455F-9144-31509FAE35FB}" srcOrd="0" destOrd="0" presId="urn:microsoft.com/office/officeart/2005/8/layout/pyramid1"/>
    <dgm:cxn modelId="{DF4AFE34-8D41-4D80-B04A-87814EA38278}" type="presParOf" srcId="{08609C55-E487-4600-AFD0-8994D3888F22}" destId="{8064A9E2-4365-4891-A563-4210D9FE6047}" srcOrd="1" destOrd="0" presId="urn:microsoft.com/office/officeart/2005/8/layout/pyramid1"/>
    <dgm:cxn modelId="{12439197-1724-45FE-81FA-A7AC17B05C06}" type="presParOf" srcId="{8C222443-D6D5-437E-8A06-7845FF64044F}" destId="{4E66420A-6794-4210-A8DC-A681DFE94B26}" srcOrd="2" destOrd="0" presId="urn:microsoft.com/office/officeart/2005/8/layout/pyramid1"/>
    <dgm:cxn modelId="{CD7DAD8A-DA19-4CF1-A120-4E6D9D2D61BC}" type="presParOf" srcId="{4E66420A-6794-4210-A8DC-A681DFE94B26}" destId="{3405B94A-B110-4EB0-B99D-680A85764021}" srcOrd="0" destOrd="0" presId="urn:microsoft.com/office/officeart/2005/8/layout/pyramid1"/>
    <dgm:cxn modelId="{74B7279C-412A-4FA3-94D3-D27FD47D83B3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BFEE5F0-45C5-4CFF-BA2D-8A60B5871492}" type="doc">
      <dgm:prSet loTypeId="urn:microsoft.com/office/officeart/2005/8/layout/vProcess5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ABD7538-E1B7-4A14-9649-1C582DF5D4FE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1. 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Зам. зав. по УВР создает </a:t>
          </a:r>
          <a:r>
            <a:rPr lang="ru-RU" sz="18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яндекс-форму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для сбора информации  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06846E-9354-4D37-9D29-9412891BCA3C}" type="parTrans" cxnId="{C4C80438-EAA9-4321-BFD7-B17FD2CDF6C5}">
      <dgm:prSet/>
      <dgm:spPr/>
      <dgm:t>
        <a:bodyPr/>
        <a:lstStyle/>
        <a:p>
          <a:endParaRPr lang="ru-RU"/>
        </a:p>
      </dgm:t>
    </dgm:pt>
    <dgm:pt modelId="{98F1C1C8-A9C5-40A9-916F-5131661F376A}" type="sibTrans" cxnId="{C4C80438-EAA9-4321-BFD7-B17FD2CDF6C5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640A066F-B17F-45B8-89F8-3AD1EC3F21AE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5. Старший воспитатель распечатывает сводную информацию и передает зам. зав. по УВР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3E3434C-981A-44CE-BE18-A5D126FDAEB8}" type="parTrans" cxnId="{6BF5B657-B78C-4B8A-9DD2-7E43D1DB1413}">
      <dgm:prSet/>
      <dgm:spPr/>
      <dgm:t>
        <a:bodyPr/>
        <a:lstStyle/>
        <a:p>
          <a:endParaRPr lang="ru-RU"/>
        </a:p>
      </dgm:t>
    </dgm:pt>
    <dgm:pt modelId="{80935358-8300-4C43-A619-5E4D01ECEE1C}" type="sibTrans" cxnId="{6BF5B657-B78C-4B8A-9DD2-7E43D1DB1413}">
      <dgm:prSet/>
      <dgm:spPr/>
      <dgm:t>
        <a:bodyPr/>
        <a:lstStyle/>
        <a:p>
          <a:endParaRPr lang="ru-RU"/>
        </a:p>
      </dgm:t>
    </dgm:pt>
    <dgm:pt modelId="{07E9D862-254D-46C5-A0D0-BD60FD084431}">
      <dgm:prSet phldrT="[Текст]" phldr="1"/>
      <dgm:spPr/>
      <dgm:t>
        <a:bodyPr/>
        <a:lstStyle/>
        <a:p>
          <a:endParaRPr lang="ru-RU"/>
        </a:p>
      </dgm:t>
    </dgm:pt>
    <dgm:pt modelId="{0EA3F1EE-441D-405A-8935-9EA1BEF45ADD}" type="parTrans" cxnId="{85A5A7F7-C6CE-4326-B522-1D29B69B9034}">
      <dgm:prSet/>
      <dgm:spPr/>
      <dgm:t>
        <a:bodyPr/>
        <a:lstStyle/>
        <a:p>
          <a:endParaRPr lang="ru-RU"/>
        </a:p>
      </dgm:t>
    </dgm:pt>
    <dgm:pt modelId="{B3D9C5EE-F500-42A2-9142-57FDA1BF22AE}" type="sibTrans" cxnId="{85A5A7F7-C6CE-4326-B522-1D29B69B9034}">
      <dgm:prSet/>
      <dgm:spPr/>
      <dgm:t>
        <a:bodyPr/>
        <a:lstStyle/>
        <a:p>
          <a:endParaRPr lang="ru-RU"/>
        </a:p>
      </dgm:t>
    </dgm:pt>
    <dgm:pt modelId="{2B8E528B-B59C-46A5-8EBC-B248E02C47B1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2. 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тарший воспитатель размещает ссылку на форму и инструкцию для заполнения в рабочем чате ВК </a:t>
          </a:r>
          <a:r>
            <a:rPr lang="ru-RU" sz="18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мессенджера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A2109F1-5714-4AB0-B497-0BB2290288C0}" type="parTrans" cxnId="{E1011D21-2F5C-4B7B-A197-65E7014AC0EB}">
      <dgm:prSet/>
      <dgm:spPr/>
      <dgm:t>
        <a:bodyPr/>
        <a:lstStyle/>
        <a:p>
          <a:endParaRPr lang="ru-RU"/>
        </a:p>
      </dgm:t>
    </dgm:pt>
    <dgm:pt modelId="{EB8C6CE8-C0DC-4EDC-9F28-F1A973E801DD}" type="sibTrans" cxnId="{E1011D21-2F5C-4B7B-A197-65E7014AC0EB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F68A3DDF-6DB4-4987-B53D-BCDBCA10BAEB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3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. Воспитатели проходят по ссылке и заполняют форму в соответствии с инструкцией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EFFDE97-27ED-4BEE-94F2-E44BC495E713}" type="parTrans" cxnId="{0FF18272-5323-40BD-820A-BCA1928EF8F0}">
      <dgm:prSet/>
      <dgm:spPr/>
      <dgm:t>
        <a:bodyPr/>
        <a:lstStyle/>
        <a:p>
          <a:endParaRPr lang="ru-RU"/>
        </a:p>
      </dgm:t>
    </dgm:pt>
    <dgm:pt modelId="{E7C70EB0-ACEC-4279-BCCC-DF6F633D54FD}" type="sibTrans" cxnId="{0FF18272-5323-40BD-820A-BCA1928EF8F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FC5BD7F4-96B4-47C9-998E-6FC57FDD5E06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4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. Старший воспитатель проверяет и корректирует полученные данные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255644D-8A28-46C9-BF4D-930A9544BCBC}" type="parTrans" cxnId="{D299D945-5B06-4459-93D5-DC15415E57A0}">
      <dgm:prSet/>
      <dgm:spPr/>
      <dgm:t>
        <a:bodyPr/>
        <a:lstStyle/>
        <a:p>
          <a:endParaRPr lang="ru-RU"/>
        </a:p>
      </dgm:t>
    </dgm:pt>
    <dgm:pt modelId="{CA06A359-1AEE-4640-8FE2-7A447B44B5F4}" type="sibTrans" cxnId="{D299D945-5B06-4459-93D5-DC15415E57A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750584B0-8F72-4FC1-8F04-083026C179E3}" type="pres">
      <dgm:prSet presAssocID="{6BFEE5F0-45C5-4CFF-BA2D-8A60B5871492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5C6604F-7771-4662-8AA0-396AE1A5BE3F}" type="pres">
      <dgm:prSet presAssocID="{6BFEE5F0-45C5-4CFF-BA2D-8A60B5871492}" presName="dummyMaxCanvas" presStyleCnt="0">
        <dgm:presLayoutVars/>
      </dgm:prSet>
      <dgm:spPr/>
    </dgm:pt>
    <dgm:pt modelId="{30FEC8C0-9AF4-4C08-9FBE-E2B4BF8EDC03}" type="pres">
      <dgm:prSet presAssocID="{6BFEE5F0-45C5-4CFF-BA2D-8A60B5871492}" presName="FiveNodes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366500-1CE0-4E21-ABD1-DA4624D064AC}" type="pres">
      <dgm:prSet presAssocID="{6BFEE5F0-45C5-4CFF-BA2D-8A60B5871492}" presName="FiveNodes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A03898-272E-4EF0-AF67-078971E9CE25}" type="pres">
      <dgm:prSet presAssocID="{6BFEE5F0-45C5-4CFF-BA2D-8A60B5871492}" presName="FiveNodes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17664F-C9B3-4249-A8B8-C4D300FA926D}" type="pres">
      <dgm:prSet presAssocID="{6BFEE5F0-45C5-4CFF-BA2D-8A60B5871492}" presName="FiveNodes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A6D48D-BAD0-473B-A278-4CF37A911351}" type="pres">
      <dgm:prSet presAssocID="{6BFEE5F0-45C5-4CFF-BA2D-8A60B5871492}" presName="FiveNodes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9552E2-4F18-4949-BE6B-3424A9372BC7}" type="pres">
      <dgm:prSet presAssocID="{6BFEE5F0-45C5-4CFF-BA2D-8A60B5871492}" presName="FiveConn_1-2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E2DFB3-AB61-455F-9BB7-2E64B786D895}" type="pres">
      <dgm:prSet presAssocID="{6BFEE5F0-45C5-4CFF-BA2D-8A60B5871492}" presName="FiveConn_2-3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9A8CAC-EB46-4693-A9F5-A064E8EFDD0C}" type="pres">
      <dgm:prSet presAssocID="{6BFEE5F0-45C5-4CFF-BA2D-8A60B5871492}" presName="FiveConn_3-4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365600-431D-4308-99D7-92F1861F9C31}" type="pres">
      <dgm:prSet presAssocID="{6BFEE5F0-45C5-4CFF-BA2D-8A60B5871492}" presName="FiveConn_4-5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FD72557-98A8-484B-B82C-065B0616D77B}" type="pres">
      <dgm:prSet presAssocID="{6BFEE5F0-45C5-4CFF-BA2D-8A60B5871492}" presName="FiveNodes_1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231FB49-1DD9-4303-9D35-94208F3E324B}" type="pres">
      <dgm:prSet presAssocID="{6BFEE5F0-45C5-4CFF-BA2D-8A60B5871492}" presName="FiveNodes_2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46162F8-B5E5-4AE8-89A7-33FD83ECEF0D}" type="pres">
      <dgm:prSet presAssocID="{6BFEE5F0-45C5-4CFF-BA2D-8A60B5871492}" presName="FiveNodes_3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DD35B8-8792-44B6-A00D-B33E61D3EFF6}" type="pres">
      <dgm:prSet presAssocID="{6BFEE5F0-45C5-4CFF-BA2D-8A60B5871492}" presName="FiveNodes_4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858857A-1BF0-4921-8D21-7BADDAF5D973}" type="pres">
      <dgm:prSet presAssocID="{6BFEE5F0-45C5-4CFF-BA2D-8A60B5871492}" presName="FiveNodes_5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CB96756-A65B-45D0-B586-FE0C26B2514D}" type="presOf" srcId="{2B8E528B-B59C-46A5-8EBC-B248E02C47B1}" destId="{5231FB49-1DD9-4303-9D35-94208F3E324B}" srcOrd="1" destOrd="0" presId="urn:microsoft.com/office/officeart/2005/8/layout/vProcess5"/>
    <dgm:cxn modelId="{0FF18272-5323-40BD-820A-BCA1928EF8F0}" srcId="{6BFEE5F0-45C5-4CFF-BA2D-8A60B5871492}" destId="{F68A3DDF-6DB4-4987-B53D-BCDBCA10BAEB}" srcOrd="2" destOrd="0" parTransId="{8EFFDE97-27ED-4BEE-94F2-E44BC495E713}" sibTransId="{E7C70EB0-ACEC-4279-BCCC-DF6F633D54FD}"/>
    <dgm:cxn modelId="{C4C80438-EAA9-4321-BFD7-B17FD2CDF6C5}" srcId="{6BFEE5F0-45C5-4CFF-BA2D-8A60B5871492}" destId="{DABD7538-E1B7-4A14-9649-1C582DF5D4FE}" srcOrd="0" destOrd="0" parTransId="{B406846E-9354-4D37-9D29-9412891BCA3C}" sibTransId="{98F1C1C8-A9C5-40A9-916F-5131661F376A}"/>
    <dgm:cxn modelId="{F2936C4A-6155-4687-8F74-B886BE8884A4}" type="presOf" srcId="{CA06A359-1AEE-4640-8FE2-7A447B44B5F4}" destId="{7B365600-431D-4308-99D7-92F1861F9C31}" srcOrd="0" destOrd="0" presId="urn:microsoft.com/office/officeart/2005/8/layout/vProcess5"/>
    <dgm:cxn modelId="{CA1C1E4C-3053-4155-9C80-B1EB95B72E42}" type="presOf" srcId="{640A066F-B17F-45B8-89F8-3AD1EC3F21AE}" destId="{6EA6D48D-BAD0-473B-A278-4CF37A911351}" srcOrd="0" destOrd="0" presId="urn:microsoft.com/office/officeart/2005/8/layout/vProcess5"/>
    <dgm:cxn modelId="{6BF5B657-B78C-4B8A-9DD2-7E43D1DB1413}" srcId="{6BFEE5F0-45C5-4CFF-BA2D-8A60B5871492}" destId="{640A066F-B17F-45B8-89F8-3AD1EC3F21AE}" srcOrd="4" destOrd="0" parTransId="{D3E3434C-981A-44CE-BE18-A5D126FDAEB8}" sibTransId="{80935358-8300-4C43-A619-5E4D01ECEE1C}"/>
    <dgm:cxn modelId="{AD4C42F7-DE47-434E-8959-D5B9CE32EA7E}" type="presOf" srcId="{EB8C6CE8-C0DC-4EDC-9F28-F1A973E801DD}" destId="{03E2DFB3-AB61-455F-9BB7-2E64B786D895}" srcOrd="0" destOrd="0" presId="urn:microsoft.com/office/officeart/2005/8/layout/vProcess5"/>
    <dgm:cxn modelId="{97F82EF7-7515-4153-B282-2AB399590B60}" type="presOf" srcId="{F68A3DDF-6DB4-4987-B53D-BCDBCA10BAEB}" destId="{246162F8-B5E5-4AE8-89A7-33FD83ECEF0D}" srcOrd="1" destOrd="0" presId="urn:microsoft.com/office/officeart/2005/8/layout/vProcess5"/>
    <dgm:cxn modelId="{85A5A7F7-C6CE-4326-B522-1D29B69B9034}" srcId="{6BFEE5F0-45C5-4CFF-BA2D-8A60B5871492}" destId="{07E9D862-254D-46C5-A0D0-BD60FD084431}" srcOrd="5" destOrd="0" parTransId="{0EA3F1EE-441D-405A-8935-9EA1BEF45ADD}" sibTransId="{B3D9C5EE-F500-42A2-9142-57FDA1BF22AE}"/>
    <dgm:cxn modelId="{1DCF82CF-BAC7-4911-ABB5-341E43019593}" type="presOf" srcId="{FC5BD7F4-96B4-47C9-998E-6FC57FDD5E06}" destId="{7B17664F-C9B3-4249-A8B8-C4D300FA926D}" srcOrd="0" destOrd="0" presId="urn:microsoft.com/office/officeart/2005/8/layout/vProcess5"/>
    <dgm:cxn modelId="{E1011D21-2F5C-4B7B-A197-65E7014AC0EB}" srcId="{6BFEE5F0-45C5-4CFF-BA2D-8A60B5871492}" destId="{2B8E528B-B59C-46A5-8EBC-B248E02C47B1}" srcOrd="1" destOrd="0" parTransId="{5A2109F1-5714-4AB0-B497-0BB2290288C0}" sibTransId="{EB8C6CE8-C0DC-4EDC-9F28-F1A973E801DD}"/>
    <dgm:cxn modelId="{D299D945-5B06-4459-93D5-DC15415E57A0}" srcId="{6BFEE5F0-45C5-4CFF-BA2D-8A60B5871492}" destId="{FC5BD7F4-96B4-47C9-998E-6FC57FDD5E06}" srcOrd="3" destOrd="0" parTransId="{B255644D-8A28-46C9-BF4D-930A9544BCBC}" sibTransId="{CA06A359-1AEE-4640-8FE2-7A447B44B5F4}"/>
    <dgm:cxn modelId="{1BA5EBE3-3F4C-4EF6-8FC0-B070677DAC04}" type="presOf" srcId="{DABD7538-E1B7-4A14-9649-1C582DF5D4FE}" destId="{5FD72557-98A8-484B-B82C-065B0616D77B}" srcOrd="1" destOrd="0" presId="urn:microsoft.com/office/officeart/2005/8/layout/vProcess5"/>
    <dgm:cxn modelId="{BDAFD23A-A7B6-4510-9AD5-01A9D9D104D0}" type="presOf" srcId="{640A066F-B17F-45B8-89F8-3AD1EC3F21AE}" destId="{E858857A-1BF0-4921-8D21-7BADDAF5D973}" srcOrd="1" destOrd="0" presId="urn:microsoft.com/office/officeart/2005/8/layout/vProcess5"/>
    <dgm:cxn modelId="{DF3A725C-117B-4BA3-8C5F-0097ECD451AB}" type="presOf" srcId="{6BFEE5F0-45C5-4CFF-BA2D-8A60B5871492}" destId="{750584B0-8F72-4FC1-8F04-083026C179E3}" srcOrd="0" destOrd="0" presId="urn:microsoft.com/office/officeart/2005/8/layout/vProcess5"/>
    <dgm:cxn modelId="{F1B496A5-85E4-4F87-B331-D2BB656EA1BD}" type="presOf" srcId="{FC5BD7F4-96B4-47C9-998E-6FC57FDD5E06}" destId="{F8DD35B8-8792-44B6-A00D-B33E61D3EFF6}" srcOrd="1" destOrd="0" presId="urn:microsoft.com/office/officeart/2005/8/layout/vProcess5"/>
    <dgm:cxn modelId="{7DCF197F-11A3-4556-BDF8-A07A795ABA8F}" type="presOf" srcId="{98F1C1C8-A9C5-40A9-916F-5131661F376A}" destId="{AE9552E2-4F18-4949-BE6B-3424A9372BC7}" srcOrd="0" destOrd="0" presId="urn:microsoft.com/office/officeart/2005/8/layout/vProcess5"/>
    <dgm:cxn modelId="{5612FB7A-1C75-4F96-8FBA-CE09ED85426A}" type="presOf" srcId="{2B8E528B-B59C-46A5-8EBC-B248E02C47B1}" destId="{FE366500-1CE0-4E21-ABD1-DA4624D064AC}" srcOrd="0" destOrd="0" presId="urn:microsoft.com/office/officeart/2005/8/layout/vProcess5"/>
    <dgm:cxn modelId="{ACB935DF-5A92-4297-8AE6-F203006084DF}" type="presOf" srcId="{F68A3DDF-6DB4-4987-B53D-BCDBCA10BAEB}" destId="{B6A03898-272E-4EF0-AF67-078971E9CE25}" srcOrd="0" destOrd="0" presId="urn:microsoft.com/office/officeart/2005/8/layout/vProcess5"/>
    <dgm:cxn modelId="{D47FAA15-73AF-4099-9318-F213010D9493}" type="presOf" srcId="{E7C70EB0-ACEC-4279-BCCC-DF6F633D54FD}" destId="{D89A8CAC-EB46-4693-A9F5-A064E8EFDD0C}" srcOrd="0" destOrd="0" presId="urn:microsoft.com/office/officeart/2005/8/layout/vProcess5"/>
    <dgm:cxn modelId="{66AFC5CF-7352-4F56-A0AA-6A3450F7DA57}" type="presOf" srcId="{DABD7538-E1B7-4A14-9649-1C582DF5D4FE}" destId="{30FEC8C0-9AF4-4C08-9FBE-E2B4BF8EDC03}" srcOrd="0" destOrd="0" presId="urn:microsoft.com/office/officeart/2005/8/layout/vProcess5"/>
    <dgm:cxn modelId="{D356F34A-5BBF-4E1C-A6A1-863F5F7497D7}" type="presParOf" srcId="{750584B0-8F72-4FC1-8F04-083026C179E3}" destId="{75C6604F-7771-4662-8AA0-396AE1A5BE3F}" srcOrd="0" destOrd="0" presId="urn:microsoft.com/office/officeart/2005/8/layout/vProcess5"/>
    <dgm:cxn modelId="{C54A4B63-A4B9-4FF8-B06E-DF5A8CC621C2}" type="presParOf" srcId="{750584B0-8F72-4FC1-8F04-083026C179E3}" destId="{30FEC8C0-9AF4-4C08-9FBE-E2B4BF8EDC03}" srcOrd="1" destOrd="0" presId="urn:microsoft.com/office/officeart/2005/8/layout/vProcess5"/>
    <dgm:cxn modelId="{725943E9-7E2A-479D-98FF-05F3D44A112B}" type="presParOf" srcId="{750584B0-8F72-4FC1-8F04-083026C179E3}" destId="{FE366500-1CE0-4E21-ABD1-DA4624D064AC}" srcOrd="2" destOrd="0" presId="urn:microsoft.com/office/officeart/2005/8/layout/vProcess5"/>
    <dgm:cxn modelId="{CB7CD89D-5B72-42CF-8554-17928ED6E43D}" type="presParOf" srcId="{750584B0-8F72-4FC1-8F04-083026C179E3}" destId="{B6A03898-272E-4EF0-AF67-078971E9CE25}" srcOrd="3" destOrd="0" presId="urn:microsoft.com/office/officeart/2005/8/layout/vProcess5"/>
    <dgm:cxn modelId="{D95DFD20-FBA3-4B8D-AD69-200D22D681F3}" type="presParOf" srcId="{750584B0-8F72-4FC1-8F04-083026C179E3}" destId="{7B17664F-C9B3-4249-A8B8-C4D300FA926D}" srcOrd="4" destOrd="0" presId="urn:microsoft.com/office/officeart/2005/8/layout/vProcess5"/>
    <dgm:cxn modelId="{667C7091-2AFD-4C7D-8447-72131A979E49}" type="presParOf" srcId="{750584B0-8F72-4FC1-8F04-083026C179E3}" destId="{6EA6D48D-BAD0-473B-A278-4CF37A911351}" srcOrd="5" destOrd="0" presId="urn:microsoft.com/office/officeart/2005/8/layout/vProcess5"/>
    <dgm:cxn modelId="{98616849-76B6-47D0-B92C-3F5E96C15DC0}" type="presParOf" srcId="{750584B0-8F72-4FC1-8F04-083026C179E3}" destId="{AE9552E2-4F18-4949-BE6B-3424A9372BC7}" srcOrd="6" destOrd="0" presId="urn:microsoft.com/office/officeart/2005/8/layout/vProcess5"/>
    <dgm:cxn modelId="{4CC8EE6B-38AB-46B5-A9A8-A40A5104A44D}" type="presParOf" srcId="{750584B0-8F72-4FC1-8F04-083026C179E3}" destId="{03E2DFB3-AB61-455F-9BB7-2E64B786D895}" srcOrd="7" destOrd="0" presId="urn:microsoft.com/office/officeart/2005/8/layout/vProcess5"/>
    <dgm:cxn modelId="{B350729A-4EBC-4662-BBBC-77062B407462}" type="presParOf" srcId="{750584B0-8F72-4FC1-8F04-083026C179E3}" destId="{D89A8CAC-EB46-4693-A9F5-A064E8EFDD0C}" srcOrd="8" destOrd="0" presId="urn:microsoft.com/office/officeart/2005/8/layout/vProcess5"/>
    <dgm:cxn modelId="{2717DD26-3A90-46D1-9B12-55CBD4409F9F}" type="presParOf" srcId="{750584B0-8F72-4FC1-8F04-083026C179E3}" destId="{7B365600-431D-4308-99D7-92F1861F9C31}" srcOrd="9" destOrd="0" presId="urn:microsoft.com/office/officeart/2005/8/layout/vProcess5"/>
    <dgm:cxn modelId="{9E667E82-8A0D-4FA0-8638-6DE8D3DE1E04}" type="presParOf" srcId="{750584B0-8F72-4FC1-8F04-083026C179E3}" destId="{5FD72557-98A8-484B-B82C-065B0616D77B}" srcOrd="10" destOrd="0" presId="urn:microsoft.com/office/officeart/2005/8/layout/vProcess5"/>
    <dgm:cxn modelId="{D3E07C96-F5C8-4F3C-92A6-6B3330B4706A}" type="presParOf" srcId="{750584B0-8F72-4FC1-8F04-083026C179E3}" destId="{5231FB49-1DD9-4303-9D35-94208F3E324B}" srcOrd="11" destOrd="0" presId="urn:microsoft.com/office/officeart/2005/8/layout/vProcess5"/>
    <dgm:cxn modelId="{D0986F51-6D77-4890-B7E2-237DCA62282D}" type="presParOf" srcId="{750584B0-8F72-4FC1-8F04-083026C179E3}" destId="{246162F8-B5E5-4AE8-89A7-33FD83ECEF0D}" srcOrd="12" destOrd="0" presId="urn:microsoft.com/office/officeart/2005/8/layout/vProcess5"/>
    <dgm:cxn modelId="{7C243659-B71E-401B-87B7-78F9CE84F63D}" type="presParOf" srcId="{750584B0-8F72-4FC1-8F04-083026C179E3}" destId="{F8DD35B8-8792-44B6-A00D-B33E61D3EFF6}" srcOrd="13" destOrd="0" presId="urn:microsoft.com/office/officeart/2005/8/layout/vProcess5"/>
    <dgm:cxn modelId="{FBF34003-3B23-4126-AA7B-F186C93CB6A7}" type="presParOf" srcId="{750584B0-8F72-4FC1-8F04-083026C179E3}" destId="{E858857A-1BF0-4921-8D21-7BADDAF5D973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4B84D45-6447-479C-AE05-C3BF361B89B3}" type="doc">
      <dgm:prSet loTypeId="urn:microsoft.com/office/officeart/2005/8/layout/vProcess5" loCatId="process" qsTypeId="urn:microsoft.com/office/officeart/2005/8/quickstyle/simple3" qsCatId="simple" csTypeId="urn:microsoft.com/office/officeart/2005/8/colors/accent1_2#5" csCatId="accent1" phldr="1"/>
      <dgm:spPr/>
      <dgm:t>
        <a:bodyPr/>
        <a:lstStyle/>
        <a:p>
          <a:endParaRPr lang="ru-RU"/>
        </a:p>
      </dgm:t>
    </dgm:pt>
    <dgm:pt modelId="{7CC272E1-C385-4BCD-B0ED-5E43A890744E}">
      <dgm:prSet phldrT="[Текст]" custT="1"/>
      <dgm:spPr/>
      <dgm:t>
        <a:bodyPr/>
        <a:lstStyle/>
        <a:p>
          <a:r>
            <a:rPr lang="ru-RU" sz="2400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1. </a:t>
          </a:r>
          <a:r>
            <a:rPr lang="ru-RU" sz="2400" baseline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оздание </a:t>
          </a:r>
          <a:r>
            <a:rPr lang="ru-RU" sz="2400" baseline="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яндекс-формы</a:t>
          </a:r>
          <a:endParaRPr lang="ru-RU" sz="2400" dirty="0"/>
        </a:p>
      </dgm:t>
    </dgm:pt>
    <dgm:pt modelId="{121FB716-F4A8-4B13-A0C8-D4C9BD659003}" type="parTrans" cxnId="{1F32FB5E-8454-4F0D-9CEF-AA9841B427ED}">
      <dgm:prSet/>
      <dgm:spPr/>
      <dgm:t>
        <a:bodyPr/>
        <a:lstStyle/>
        <a:p>
          <a:endParaRPr lang="ru-RU"/>
        </a:p>
      </dgm:t>
    </dgm:pt>
    <dgm:pt modelId="{FEBB1656-1417-4792-BD74-EAC5EAA811FB}" type="sibTrans" cxnId="{1F32FB5E-8454-4F0D-9CEF-AA9841B427ED}">
      <dgm:prSet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ln/>
      </dgm:spPr>
      <dgm:t>
        <a:bodyPr/>
        <a:lstStyle/>
        <a:p>
          <a:endParaRPr lang="ru-RU"/>
        </a:p>
      </dgm:t>
    </dgm:pt>
    <dgm:pt modelId="{3304C206-72BA-4213-83C4-172CB2FA41AE}">
      <dgm:prSet phldrT="[Текст]" custT="1"/>
      <dgm:spPr/>
      <dgm:t>
        <a:bodyPr/>
        <a:lstStyle/>
        <a:p>
          <a:pPr>
            <a:buClrTx/>
            <a:buSzTx/>
            <a:buFontTx/>
            <a:buNone/>
          </a:pPr>
          <a:r>
            <a:rPr lang="ru-RU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2. </a:t>
          </a:r>
          <a:r>
            <a: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азмещение ссылки на форму в ВК </a:t>
          </a:r>
          <a:r>
            <a:rPr lang="ru-RU" sz="24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мессенджере</a:t>
          </a:r>
          <a:r>
            <a: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endParaRPr lang="ru-RU" sz="2400" dirty="0"/>
        </a:p>
      </dgm:t>
    </dgm:pt>
    <dgm:pt modelId="{492E5CBE-0EBB-4C30-8D68-0892FFC97EE5}" type="parTrans" cxnId="{7ACA11EC-AFE9-44E9-91E9-3177002ACDD1}">
      <dgm:prSet/>
      <dgm:spPr/>
      <dgm:t>
        <a:bodyPr/>
        <a:lstStyle/>
        <a:p>
          <a:endParaRPr lang="ru-RU"/>
        </a:p>
      </dgm:t>
    </dgm:pt>
    <dgm:pt modelId="{93C3E3AE-D2B7-40F7-B48E-690F7E5FCA6F}" type="sibTrans" cxnId="{7ACA11EC-AFE9-44E9-91E9-3177002ACDD1}">
      <dgm:prSet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ru-RU"/>
        </a:p>
      </dgm:t>
    </dgm:pt>
    <dgm:pt modelId="{B81FBDCA-F3B0-435E-A190-F2D59076178A}">
      <dgm:prSet phldrT="[Текст]" custT="1"/>
      <dgm:spPr/>
      <dgm:t>
        <a:bodyPr/>
        <a:lstStyle/>
        <a:p>
          <a:pPr algn="just"/>
          <a:r>
            <a:rPr lang="ru-RU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3. </a:t>
          </a:r>
          <a:r>
            <a: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Заполнение данных по форме, проверка и корректировка данных</a:t>
          </a:r>
          <a:endParaRPr lang="ru-RU" sz="2400" dirty="0"/>
        </a:p>
      </dgm:t>
    </dgm:pt>
    <dgm:pt modelId="{28503D83-EE43-4471-A379-6FCE88A386FF}" type="parTrans" cxnId="{9A1B5A96-5E35-40F4-B7FD-6689A4C5FB8D}">
      <dgm:prSet/>
      <dgm:spPr/>
      <dgm:t>
        <a:bodyPr/>
        <a:lstStyle/>
        <a:p>
          <a:endParaRPr lang="ru-RU"/>
        </a:p>
      </dgm:t>
    </dgm:pt>
    <dgm:pt modelId="{088CEA39-C392-4F6F-9ED6-05E83C12045B}" type="sibTrans" cxnId="{9A1B5A96-5E35-40F4-B7FD-6689A4C5FB8D}">
      <dgm:prSet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ru-RU"/>
        </a:p>
      </dgm:t>
    </dgm:pt>
    <dgm:pt modelId="{593F7EB8-1D3D-492A-8C55-17D9B4C088AF}">
      <dgm:prSet phldrT="[Текст]" custT="1"/>
      <dgm:spPr/>
      <dgm:t>
        <a:bodyPr/>
        <a:lstStyle/>
        <a:p>
          <a:r>
            <a:rPr lang="ru-RU" sz="2400" dirty="0">
              <a:latin typeface="Times New Roman" panose="02020603050405020304" pitchFamily="18" charset="0"/>
              <a:cs typeface="Times New Roman" panose="02020603050405020304" pitchFamily="18" charset="0"/>
            </a:rPr>
            <a:t>4. </a:t>
          </a:r>
          <a:r>
            <a: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аспечатка сводной информации</a:t>
          </a:r>
          <a:endParaRPr lang="ru-RU" sz="2400" dirty="0"/>
        </a:p>
      </dgm:t>
    </dgm:pt>
    <dgm:pt modelId="{AC5BC27D-3EA0-4FF3-B858-130FBDB82302}" type="parTrans" cxnId="{26A4BFD7-F150-491E-8819-A9AF83B219A6}">
      <dgm:prSet/>
      <dgm:spPr/>
      <dgm:t>
        <a:bodyPr/>
        <a:lstStyle/>
        <a:p>
          <a:endParaRPr lang="ru-RU"/>
        </a:p>
      </dgm:t>
    </dgm:pt>
    <dgm:pt modelId="{0A2EF585-561F-4C4C-82D7-F677B7F2509C}" type="sibTrans" cxnId="{26A4BFD7-F150-491E-8819-A9AF83B219A6}">
      <dgm:prSet/>
      <dgm:spPr/>
      <dgm:t>
        <a:bodyPr/>
        <a:lstStyle/>
        <a:p>
          <a:endParaRPr lang="ru-RU"/>
        </a:p>
      </dgm:t>
    </dgm:pt>
    <dgm:pt modelId="{9439CA5D-66A4-454F-A33A-118DD72B3846}" type="pres">
      <dgm:prSet presAssocID="{C4B84D45-6447-479C-AE05-C3BF361B89B3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EAE41B4-C950-4837-B92A-981EBBCCDA64}" type="pres">
      <dgm:prSet presAssocID="{C4B84D45-6447-479C-AE05-C3BF361B89B3}" presName="dummyMaxCanvas" presStyleCnt="0">
        <dgm:presLayoutVars/>
      </dgm:prSet>
      <dgm:spPr/>
    </dgm:pt>
    <dgm:pt modelId="{E5C6A170-BBD9-46B3-8B94-B4CCA585F2F8}" type="pres">
      <dgm:prSet presAssocID="{C4B84D45-6447-479C-AE05-C3BF361B89B3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21ECF98-24F2-442F-91B9-8A6846BF56EF}" type="pres">
      <dgm:prSet presAssocID="{C4B84D45-6447-479C-AE05-C3BF361B89B3}" presName="FourNodes_2" presStyleLbl="node1" presStyleIdx="1" presStyleCnt="4" custScaleX="105815" custLinFactNeighborX="532" custLinFactNeighborY="-759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72506A5-FB7A-457F-9DA4-7F5C94B85607}" type="pres">
      <dgm:prSet presAssocID="{C4B84D45-6447-479C-AE05-C3BF361B89B3}" presName="FourNodes_3" presStyleLbl="node1" presStyleIdx="2" presStyleCnt="4" custLinFactNeighborX="-62" custLinFactNeighborY="-1112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95800C-15E6-40DC-AF89-BA3E60DF7AB0}" type="pres">
      <dgm:prSet presAssocID="{C4B84D45-6447-479C-AE05-C3BF361B89B3}" presName="FourNodes_4" presStyleLbl="node1" presStyleIdx="3" presStyleCnt="4" custScaleX="89129" custScaleY="99398" custLinFactNeighborX="-1284" custLinFactNeighborY="-151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D1A7016-E1A3-4769-8392-E6C882B2233D}" type="pres">
      <dgm:prSet presAssocID="{C4B84D45-6447-479C-AE05-C3BF361B89B3}" presName="FourConn_1-2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F225C6-6058-4A0D-B327-776530A9BE87}" type="pres">
      <dgm:prSet presAssocID="{C4B84D45-6447-479C-AE05-C3BF361B89B3}" presName="FourConn_2-3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065ABB3-E469-4D40-A927-00284C088AF5}" type="pres">
      <dgm:prSet presAssocID="{C4B84D45-6447-479C-AE05-C3BF361B89B3}" presName="FourConn_3-4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830B08E-2773-44D3-8737-B7422F202626}" type="pres">
      <dgm:prSet presAssocID="{C4B84D45-6447-479C-AE05-C3BF361B89B3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38E4A2-B5C4-48B9-BC6A-80032E5B022F}" type="pres">
      <dgm:prSet presAssocID="{C4B84D45-6447-479C-AE05-C3BF361B89B3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63263A5-8454-4256-9FCD-F896C9424A36}" type="pres">
      <dgm:prSet presAssocID="{C4B84D45-6447-479C-AE05-C3BF361B89B3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F50D84-2CEE-4099-A629-3E4C0E4C352B}" type="pres">
      <dgm:prSet presAssocID="{C4B84D45-6447-479C-AE05-C3BF361B89B3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D18761E-37E7-4347-AD3D-BB0B4889F5EF}" type="presOf" srcId="{C4B84D45-6447-479C-AE05-C3BF361B89B3}" destId="{9439CA5D-66A4-454F-A33A-118DD72B3846}" srcOrd="0" destOrd="0" presId="urn:microsoft.com/office/officeart/2005/8/layout/vProcess5"/>
    <dgm:cxn modelId="{0FAAEE03-A6C1-44BD-A115-124C9FAF1444}" type="presOf" srcId="{593F7EB8-1D3D-492A-8C55-17D9B4C088AF}" destId="{07F50D84-2CEE-4099-A629-3E4C0E4C352B}" srcOrd="1" destOrd="0" presId="urn:microsoft.com/office/officeart/2005/8/layout/vProcess5"/>
    <dgm:cxn modelId="{1E8C6792-C2F3-46BD-8ECD-D1650290E173}" type="presOf" srcId="{3304C206-72BA-4213-83C4-172CB2FA41AE}" destId="{1D38E4A2-B5C4-48B9-BC6A-80032E5B022F}" srcOrd="1" destOrd="0" presId="urn:microsoft.com/office/officeart/2005/8/layout/vProcess5"/>
    <dgm:cxn modelId="{0353ECD4-4299-4AC4-8AB5-A76F5605A3BA}" type="presOf" srcId="{088CEA39-C392-4F6F-9ED6-05E83C12045B}" destId="{2065ABB3-E469-4D40-A927-00284C088AF5}" srcOrd="0" destOrd="0" presId="urn:microsoft.com/office/officeart/2005/8/layout/vProcess5"/>
    <dgm:cxn modelId="{9A1B5A96-5E35-40F4-B7FD-6689A4C5FB8D}" srcId="{C4B84D45-6447-479C-AE05-C3BF361B89B3}" destId="{B81FBDCA-F3B0-435E-A190-F2D59076178A}" srcOrd="2" destOrd="0" parTransId="{28503D83-EE43-4471-A379-6FCE88A386FF}" sibTransId="{088CEA39-C392-4F6F-9ED6-05E83C12045B}"/>
    <dgm:cxn modelId="{4827A3C5-29BA-438A-9758-765AFD8F987C}" type="presOf" srcId="{3304C206-72BA-4213-83C4-172CB2FA41AE}" destId="{621ECF98-24F2-442F-91B9-8A6846BF56EF}" srcOrd="0" destOrd="0" presId="urn:microsoft.com/office/officeart/2005/8/layout/vProcess5"/>
    <dgm:cxn modelId="{ED6AAC41-E507-4AEC-A57F-E849BAC02353}" type="presOf" srcId="{7CC272E1-C385-4BCD-B0ED-5E43A890744E}" destId="{3830B08E-2773-44D3-8737-B7422F202626}" srcOrd="1" destOrd="0" presId="urn:microsoft.com/office/officeart/2005/8/layout/vProcess5"/>
    <dgm:cxn modelId="{26A4BFD7-F150-491E-8819-A9AF83B219A6}" srcId="{C4B84D45-6447-479C-AE05-C3BF361B89B3}" destId="{593F7EB8-1D3D-492A-8C55-17D9B4C088AF}" srcOrd="3" destOrd="0" parTransId="{AC5BC27D-3EA0-4FF3-B858-130FBDB82302}" sibTransId="{0A2EF585-561F-4C4C-82D7-F677B7F2509C}"/>
    <dgm:cxn modelId="{0D73A5A0-80D4-4C1C-9056-0981884F323D}" type="presOf" srcId="{B81FBDCA-F3B0-435E-A190-F2D59076178A}" destId="{363263A5-8454-4256-9FCD-F896C9424A36}" srcOrd="1" destOrd="0" presId="urn:microsoft.com/office/officeart/2005/8/layout/vProcess5"/>
    <dgm:cxn modelId="{1F32FB5E-8454-4F0D-9CEF-AA9841B427ED}" srcId="{C4B84D45-6447-479C-AE05-C3BF361B89B3}" destId="{7CC272E1-C385-4BCD-B0ED-5E43A890744E}" srcOrd="0" destOrd="0" parTransId="{121FB716-F4A8-4B13-A0C8-D4C9BD659003}" sibTransId="{FEBB1656-1417-4792-BD74-EAC5EAA811FB}"/>
    <dgm:cxn modelId="{477E0531-0F0D-4636-87DE-B17EFDF718AD}" type="presOf" srcId="{FEBB1656-1417-4792-BD74-EAC5EAA811FB}" destId="{CD1A7016-E1A3-4769-8392-E6C882B2233D}" srcOrd="0" destOrd="0" presId="urn:microsoft.com/office/officeart/2005/8/layout/vProcess5"/>
    <dgm:cxn modelId="{C2034493-D05E-4473-A041-BD0C0FBC2AD0}" type="presOf" srcId="{7CC272E1-C385-4BCD-B0ED-5E43A890744E}" destId="{E5C6A170-BBD9-46B3-8B94-B4CCA585F2F8}" srcOrd="0" destOrd="0" presId="urn:microsoft.com/office/officeart/2005/8/layout/vProcess5"/>
    <dgm:cxn modelId="{49F3F72F-30F3-41D6-B2C8-5FBF4CA6DB41}" type="presOf" srcId="{93C3E3AE-D2B7-40F7-B48E-690F7E5FCA6F}" destId="{B6F225C6-6058-4A0D-B327-776530A9BE87}" srcOrd="0" destOrd="0" presId="urn:microsoft.com/office/officeart/2005/8/layout/vProcess5"/>
    <dgm:cxn modelId="{7ACA11EC-AFE9-44E9-91E9-3177002ACDD1}" srcId="{C4B84D45-6447-479C-AE05-C3BF361B89B3}" destId="{3304C206-72BA-4213-83C4-172CB2FA41AE}" srcOrd="1" destOrd="0" parTransId="{492E5CBE-0EBB-4C30-8D68-0892FFC97EE5}" sibTransId="{93C3E3AE-D2B7-40F7-B48E-690F7E5FCA6F}"/>
    <dgm:cxn modelId="{DEA415A7-7CBC-4171-A645-D828816B70CF}" type="presOf" srcId="{593F7EB8-1D3D-492A-8C55-17D9B4C088AF}" destId="{0F95800C-15E6-40DC-AF89-BA3E60DF7AB0}" srcOrd="0" destOrd="0" presId="urn:microsoft.com/office/officeart/2005/8/layout/vProcess5"/>
    <dgm:cxn modelId="{E4D03971-D634-4EF8-B2C1-5959B34C67A8}" type="presOf" srcId="{B81FBDCA-F3B0-435E-A190-F2D59076178A}" destId="{F72506A5-FB7A-457F-9DA4-7F5C94B85607}" srcOrd="0" destOrd="0" presId="urn:microsoft.com/office/officeart/2005/8/layout/vProcess5"/>
    <dgm:cxn modelId="{23A3373F-B8DC-47FD-AF46-0101DD0D46EC}" type="presParOf" srcId="{9439CA5D-66A4-454F-A33A-118DD72B3846}" destId="{9EAE41B4-C950-4837-B92A-981EBBCCDA64}" srcOrd="0" destOrd="0" presId="urn:microsoft.com/office/officeart/2005/8/layout/vProcess5"/>
    <dgm:cxn modelId="{C1EB5CE0-9B85-47D1-AE67-0E5F142718A5}" type="presParOf" srcId="{9439CA5D-66A4-454F-A33A-118DD72B3846}" destId="{E5C6A170-BBD9-46B3-8B94-B4CCA585F2F8}" srcOrd="1" destOrd="0" presId="urn:microsoft.com/office/officeart/2005/8/layout/vProcess5"/>
    <dgm:cxn modelId="{DABFA8E0-B63E-4555-8538-6F225220BB90}" type="presParOf" srcId="{9439CA5D-66A4-454F-A33A-118DD72B3846}" destId="{621ECF98-24F2-442F-91B9-8A6846BF56EF}" srcOrd="2" destOrd="0" presId="urn:microsoft.com/office/officeart/2005/8/layout/vProcess5"/>
    <dgm:cxn modelId="{9CE8E8B3-4BA6-4146-BD0E-0005803D2B53}" type="presParOf" srcId="{9439CA5D-66A4-454F-A33A-118DD72B3846}" destId="{F72506A5-FB7A-457F-9DA4-7F5C94B85607}" srcOrd="3" destOrd="0" presId="urn:microsoft.com/office/officeart/2005/8/layout/vProcess5"/>
    <dgm:cxn modelId="{965B108C-5CCF-4010-9CD4-FD2AD002CA16}" type="presParOf" srcId="{9439CA5D-66A4-454F-A33A-118DD72B3846}" destId="{0F95800C-15E6-40DC-AF89-BA3E60DF7AB0}" srcOrd="4" destOrd="0" presId="urn:microsoft.com/office/officeart/2005/8/layout/vProcess5"/>
    <dgm:cxn modelId="{4E1EE97F-0EA9-452F-9231-07B3BB56D420}" type="presParOf" srcId="{9439CA5D-66A4-454F-A33A-118DD72B3846}" destId="{CD1A7016-E1A3-4769-8392-E6C882B2233D}" srcOrd="5" destOrd="0" presId="urn:microsoft.com/office/officeart/2005/8/layout/vProcess5"/>
    <dgm:cxn modelId="{9D92FC54-C19D-41C7-A57A-D4715316D504}" type="presParOf" srcId="{9439CA5D-66A4-454F-A33A-118DD72B3846}" destId="{B6F225C6-6058-4A0D-B327-776530A9BE87}" srcOrd="6" destOrd="0" presId="urn:microsoft.com/office/officeart/2005/8/layout/vProcess5"/>
    <dgm:cxn modelId="{9DEAC5AE-04E9-46ED-96BB-6F48183F8400}" type="presParOf" srcId="{9439CA5D-66A4-454F-A33A-118DD72B3846}" destId="{2065ABB3-E469-4D40-A927-00284C088AF5}" srcOrd="7" destOrd="0" presId="urn:microsoft.com/office/officeart/2005/8/layout/vProcess5"/>
    <dgm:cxn modelId="{11F5C9D9-EA3F-44C0-85AE-55D65A68A0C4}" type="presParOf" srcId="{9439CA5D-66A4-454F-A33A-118DD72B3846}" destId="{3830B08E-2773-44D3-8737-B7422F202626}" srcOrd="8" destOrd="0" presId="urn:microsoft.com/office/officeart/2005/8/layout/vProcess5"/>
    <dgm:cxn modelId="{EA2C1FBC-3C43-47E5-B030-F550F3AF9DFF}" type="presParOf" srcId="{9439CA5D-66A4-454F-A33A-118DD72B3846}" destId="{1D38E4A2-B5C4-48B9-BC6A-80032E5B022F}" srcOrd="9" destOrd="0" presId="urn:microsoft.com/office/officeart/2005/8/layout/vProcess5"/>
    <dgm:cxn modelId="{85255AAF-03CB-4603-A081-99CD75FD4CE3}" type="presParOf" srcId="{9439CA5D-66A4-454F-A33A-118DD72B3846}" destId="{363263A5-8454-4256-9FCD-F896C9424A36}" srcOrd="10" destOrd="0" presId="urn:microsoft.com/office/officeart/2005/8/layout/vProcess5"/>
    <dgm:cxn modelId="{C1ADFF41-035A-49E4-87CC-EE8A2792B978}" type="presParOf" srcId="{9439CA5D-66A4-454F-A33A-118DD72B3846}" destId="{07F50D84-2CEE-4099-A629-3E4C0E4C352B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FEC8C0-9AF4-4C08-9FBE-E2B4BF8EDC03}">
      <dsp:nvSpPr>
        <dsp:cNvPr id="0" name=""/>
        <dsp:cNvSpPr/>
      </dsp:nvSpPr>
      <dsp:spPr>
        <a:xfrm>
          <a:off x="0" y="0"/>
          <a:ext cx="6225556" cy="803529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. 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Зам. зав. по УВР создает </a:t>
          </a:r>
          <a:r>
            <a:rPr lang="ru-RU" sz="1800" kern="12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яндекс-форму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для сбора информации  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3535" y="23535"/>
        <a:ext cx="5264472" cy="756459"/>
      </dsp:txXfrm>
    </dsp:sp>
    <dsp:sp modelId="{FE366500-1CE0-4E21-ABD1-DA4624D064AC}">
      <dsp:nvSpPr>
        <dsp:cNvPr id="0" name=""/>
        <dsp:cNvSpPr/>
      </dsp:nvSpPr>
      <dsp:spPr>
        <a:xfrm>
          <a:off x="464895" y="915130"/>
          <a:ext cx="6225556" cy="803529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2. 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тарший воспитатель размещает ссылку на форму и инструкцию для заполнения в рабочем чате ВК </a:t>
          </a:r>
          <a:r>
            <a:rPr lang="ru-RU" sz="1800" kern="12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мессенджера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88430" y="938665"/>
        <a:ext cx="5191296" cy="756459"/>
      </dsp:txXfrm>
    </dsp:sp>
    <dsp:sp modelId="{B6A03898-272E-4EF0-AF67-078971E9CE25}">
      <dsp:nvSpPr>
        <dsp:cNvPr id="0" name=""/>
        <dsp:cNvSpPr/>
      </dsp:nvSpPr>
      <dsp:spPr>
        <a:xfrm>
          <a:off x="929790" y="1830260"/>
          <a:ext cx="6225556" cy="803529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3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. Воспитатели проходят по ссылке и заполняют форму в соответствии с инструкцией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953325" y="1853795"/>
        <a:ext cx="5191296" cy="756459"/>
      </dsp:txXfrm>
    </dsp:sp>
    <dsp:sp modelId="{7B17664F-C9B3-4249-A8B8-C4D300FA926D}">
      <dsp:nvSpPr>
        <dsp:cNvPr id="0" name=""/>
        <dsp:cNvSpPr/>
      </dsp:nvSpPr>
      <dsp:spPr>
        <a:xfrm>
          <a:off x="1394686" y="2745390"/>
          <a:ext cx="6225556" cy="803529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4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. Старший воспитатель проверяет и корректирует полученные данные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418221" y="2768925"/>
        <a:ext cx="5191296" cy="756459"/>
      </dsp:txXfrm>
    </dsp:sp>
    <dsp:sp modelId="{6EA6D48D-BAD0-473B-A278-4CF37A911351}">
      <dsp:nvSpPr>
        <dsp:cNvPr id="0" name=""/>
        <dsp:cNvSpPr/>
      </dsp:nvSpPr>
      <dsp:spPr>
        <a:xfrm>
          <a:off x="1859581" y="3660521"/>
          <a:ext cx="6225556" cy="803529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5. Старший воспитатель распечатывает сводную информацию и передает зам. зав. по УВР</a:t>
          </a:r>
          <a:endParaRPr lang="ru-RU" sz="18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83116" y="3684056"/>
        <a:ext cx="5191296" cy="756459"/>
      </dsp:txXfrm>
    </dsp:sp>
    <dsp:sp modelId="{AE9552E2-4F18-4949-BE6B-3424A9372BC7}">
      <dsp:nvSpPr>
        <dsp:cNvPr id="0" name=""/>
        <dsp:cNvSpPr/>
      </dsp:nvSpPr>
      <dsp:spPr>
        <a:xfrm>
          <a:off x="5703262" y="587022"/>
          <a:ext cx="522293" cy="522293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300" kern="1200">
            <a:solidFill>
              <a:srgbClr val="002060"/>
            </a:solidFill>
          </a:endParaRPr>
        </a:p>
      </dsp:txBody>
      <dsp:txXfrm>
        <a:off x="5820778" y="587022"/>
        <a:ext cx="287261" cy="393025"/>
      </dsp:txXfrm>
    </dsp:sp>
    <dsp:sp modelId="{03E2DFB3-AB61-455F-9BB7-2E64B786D895}">
      <dsp:nvSpPr>
        <dsp:cNvPr id="0" name=""/>
        <dsp:cNvSpPr/>
      </dsp:nvSpPr>
      <dsp:spPr>
        <a:xfrm>
          <a:off x="6168157" y="1502152"/>
          <a:ext cx="522293" cy="522293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300" kern="1200"/>
        </a:p>
      </dsp:txBody>
      <dsp:txXfrm>
        <a:off x="6285673" y="1502152"/>
        <a:ext cx="287261" cy="393025"/>
      </dsp:txXfrm>
    </dsp:sp>
    <dsp:sp modelId="{D89A8CAC-EB46-4693-A9F5-A064E8EFDD0C}">
      <dsp:nvSpPr>
        <dsp:cNvPr id="0" name=""/>
        <dsp:cNvSpPr/>
      </dsp:nvSpPr>
      <dsp:spPr>
        <a:xfrm>
          <a:off x="6633053" y="2403890"/>
          <a:ext cx="522293" cy="522293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300" kern="1200"/>
        </a:p>
      </dsp:txBody>
      <dsp:txXfrm>
        <a:off x="6750569" y="2403890"/>
        <a:ext cx="287261" cy="393025"/>
      </dsp:txXfrm>
    </dsp:sp>
    <dsp:sp modelId="{7B365600-431D-4308-99D7-92F1861F9C31}">
      <dsp:nvSpPr>
        <dsp:cNvPr id="0" name=""/>
        <dsp:cNvSpPr/>
      </dsp:nvSpPr>
      <dsp:spPr>
        <a:xfrm>
          <a:off x="7097948" y="3327949"/>
          <a:ext cx="522293" cy="522293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300" kern="1200"/>
        </a:p>
      </dsp:txBody>
      <dsp:txXfrm>
        <a:off x="7215464" y="3327949"/>
        <a:ext cx="287261" cy="39302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C6A170-BBD9-46B3-8B94-B4CCA585F2F8}">
      <dsp:nvSpPr>
        <dsp:cNvPr id="0" name=""/>
        <dsp:cNvSpPr/>
      </dsp:nvSpPr>
      <dsp:spPr>
        <a:xfrm>
          <a:off x="0" y="0"/>
          <a:ext cx="6583680" cy="106768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1. </a:t>
          </a:r>
          <a:r>
            <a:rPr lang="ru-RU" sz="2400" kern="1200" baseline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оздание </a:t>
          </a:r>
          <a:r>
            <a:rPr lang="ru-RU" sz="2400" kern="1200" baseline="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яндекс-формы</a:t>
          </a:r>
          <a:endParaRPr lang="ru-RU" sz="2400" kern="1200" dirty="0"/>
        </a:p>
      </dsp:txBody>
      <dsp:txXfrm>
        <a:off x="31272" y="31272"/>
        <a:ext cx="5341338" cy="1005145"/>
      </dsp:txXfrm>
    </dsp:sp>
    <dsp:sp modelId="{621ECF98-24F2-442F-91B9-8A6846BF56EF}">
      <dsp:nvSpPr>
        <dsp:cNvPr id="0" name=""/>
        <dsp:cNvSpPr/>
      </dsp:nvSpPr>
      <dsp:spPr>
        <a:xfrm>
          <a:off x="394987" y="1180724"/>
          <a:ext cx="6966520" cy="106768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ru-RU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2. </a:t>
          </a:r>
          <a:r>
            <a:rPr lang="ru-RU" sz="24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азмещение ссылки на форму в ВК </a:t>
          </a:r>
          <a:r>
            <a:rPr lang="ru-RU" sz="2400" kern="12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мессенджере</a:t>
          </a:r>
          <a:r>
            <a:rPr lang="ru-RU" sz="24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endParaRPr lang="ru-RU" sz="2400" kern="1200" dirty="0"/>
        </a:p>
      </dsp:txBody>
      <dsp:txXfrm>
        <a:off x="426259" y="1211996"/>
        <a:ext cx="5586176" cy="1005145"/>
      </dsp:txXfrm>
    </dsp:sp>
    <dsp:sp modelId="{F72506A5-FB7A-457F-9DA4-7F5C94B85607}">
      <dsp:nvSpPr>
        <dsp:cNvPr id="0" name=""/>
        <dsp:cNvSpPr/>
      </dsp:nvSpPr>
      <dsp:spPr>
        <a:xfrm>
          <a:off x="1090454" y="2404860"/>
          <a:ext cx="6583680" cy="106768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3. </a:t>
          </a:r>
          <a:r>
            <a:rPr lang="ru-RU" sz="24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Заполнение данных по форме, проверка и корректировка данных</a:t>
          </a:r>
          <a:endParaRPr lang="ru-RU" sz="2400" kern="1200" dirty="0"/>
        </a:p>
      </dsp:txBody>
      <dsp:txXfrm>
        <a:off x="1121726" y="2436132"/>
        <a:ext cx="5283983" cy="1005145"/>
      </dsp:txXfrm>
    </dsp:sp>
    <dsp:sp modelId="{0F95800C-15E6-40DC-AF89-BA3E60DF7AB0}">
      <dsp:nvSpPr>
        <dsp:cNvPr id="0" name=""/>
        <dsp:cNvSpPr/>
      </dsp:nvSpPr>
      <dsp:spPr>
        <a:xfrm>
          <a:off x="1919241" y="3626872"/>
          <a:ext cx="5867968" cy="106126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4. </a:t>
          </a:r>
          <a:r>
            <a:rPr lang="ru-RU" sz="24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аспечатка сводной информации</a:t>
          </a:r>
          <a:endParaRPr lang="ru-RU" sz="2400" kern="1200" dirty="0"/>
        </a:p>
      </dsp:txBody>
      <dsp:txXfrm>
        <a:off x="1950324" y="3657955"/>
        <a:ext cx="4695805" cy="999096"/>
      </dsp:txXfrm>
    </dsp:sp>
    <dsp:sp modelId="{CD1A7016-E1A3-4769-8392-E6C882B2233D}">
      <dsp:nvSpPr>
        <dsp:cNvPr id="0" name=""/>
        <dsp:cNvSpPr/>
      </dsp:nvSpPr>
      <dsp:spPr>
        <a:xfrm>
          <a:off x="5889681" y="817753"/>
          <a:ext cx="693998" cy="69399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39370" tIns="39370" rIns="39370" bIns="3937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100" kern="1200"/>
        </a:p>
      </dsp:txBody>
      <dsp:txXfrm>
        <a:off x="6045831" y="817753"/>
        <a:ext cx="381698" cy="522233"/>
      </dsp:txXfrm>
    </dsp:sp>
    <dsp:sp modelId="{B6F225C6-6058-4A0D-B327-776530A9BE87}">
      <dsp:nvSpPr>
        <dsp:cNvPr id="0" name=""/>
        <dsp:cNvSpPr/>
      </dsp:nvSpPr>
      <dsp:spPr>
        <a:xfrm>
          <a:off x="6441064" y="2079568"/>
          <a:ext cx="693998" cy="69399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39370" tIns="39370" rIns="39370" bIns="3937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100" kern="1200"/>
        </a:p>
      </dsp:txBody>
      <dsp:txXfrm>
        <a:off x="6597214" y="2079568"/>
        <a:ext cx="381698" cy="522233"/>
      </dsp:txXfrm>
    </dsp:sp>
    <dsp:sp modelId="{2065ABB3-E469-4D40-A927-00284C088AF5}">
      <dsp:nvSpPr>
        <dsp:cNvPr id="0" name=""/>
        <dsp:cNvSpPr/>
      </dsp:nvSpPr>
      <dsp:spPr>
        <a:xfrm>
          <a:off x="6984218" y="3341384"/>
          <a:ext cx="693998" cy="69399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39370" tIns="39370" rIns="39370" bIns="3937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100" kern="1200"/>
        </a:p>
      </dsp:txBody>
      <dsp:txXfrm>
        <a:off x="7140368" y="3341384"/>
        <a:ext cx="381698" cy="5222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4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4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4.11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4.1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4.11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4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4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4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2.xml"/><Relationship Id="rId7" Type="http://schemas.openxmlformats.org/officeDocument/2006/relationships/image" Target="../media/image1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13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&#1084;&#1076;&#1086;&#1091;445.&#1088;&#1092;/&#1073;&#1077;&#1088;&#1077;&#1078;&#1083;&#1080;&#1074;&#1099;&#1081;-&#1076;&#1077;&#1090;&#1089;&#1082;&#1080;&#1081;-&#1089;&#1072;&#1076;" TargetMode="External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jpeg"/><Relationship Id="rId4" Type="http://schemas.openxmlformats.org/officeDocument/2006/relationships/image" Target="../media/image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7.jpeg"/><Relationship Id="rId7" Type="http://schemas.openxmlformats.org/officeDocument/2006/relationships/image" Target="../media/image9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png"/><Relationship Id="rId5" Type="http://schemas.openxmlformats.org/officeDocument/2006/relationships/image" Target="../media/image2.jpeg"/><Relationship Id="rId10" Type="http://schemas.openxmlformats.org/officeDocument/2006/relationships/image" Target="../media/image12.jpeg"/><Relationship Id="rId4" Type="http://schemas.openxmlformats.org/officeDocument/2006/relationships/image" Target="../media/image8.jpeg"/><Relationship Id="rId9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10464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бюджетное дошкольное образовательное учреждение «Детский сад № 445 г. Челябинска»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ода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 (для  </a:t>
            </a:r>
            <a:r>
              <a:rPr lang="en-US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ck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en-US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ff )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урашникова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Елена Валерьевн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внутрифирменной системы обмена рабочей информацией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3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3844" y="767536"/>
            <a:ext cx="8219256" cy="634082"/>
          </a:xfrm>
        </p:spPr>
        <p:txBody>
          <a:bodyPr>
            <a:normAutofit fontScale="90000"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горитм процесса внутрифирменного обмена рабочей информацией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97067093"/>
              </p:ext>
            </p:extLst>
          </p:nvPr>
        </p:nvGraphicFramePr>
        <p:xfrm>
          <a:off x="539750" y="1628775"/>
          <a:ext cx="8085138" cy="4464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0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18945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92443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755650" y="620713"/>
            <a:ext cx="7715250" cy="792162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тандартизация </a:t>
            </a:r>
            <a:r>
              <a:rPr lang="ru-RU" sz="24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оцесса (алгоритм)</a:t>
            </a:r>
            <a:br>
              <a:rPr lang="ru-RU" sz="24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«Внутрифирменного обмена рабочей информацией »</a:t>
            </a:r>
            <a:endParaRPr lang="ru-RU" sz="24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Объект 5">
            <a:extLst/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450850" y="1573213"/>
          <a:ext cx="8229600" cy="48531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0595" name="Заголовок 1"/>
          <p:cNvSpPr txBox="1">
            <a:spLocks/>
          </p:cNvSpPr>
          <p:nvPr/>
        </p:nvSpPr>
        <p:spPr bwMode="auto">
          <a:xfrm>
            <a:off x="5580063" y="169863"/>
            <a:ext cx="3251200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4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7 этап картирования</a:t>
            </a:r>
          </a:p>
        </p:txBody>
      </p:sp>
      <p:pic>
        <p:nvPicPr>
          <p:cNvPr id="110596" name="Рисунок 4"/>
          <p:cNvPicPr>
            <a:picLocks noChangeAspect="1" noChangeArrowheads="1"/>
          </p:cNvPicPr>
          <p:nvPr/>
        </p:nvPicPr>
        <p:blipFill>
          <a:blip r:embed="rId7" cstate="print"/>
          <a:srcRect t="27058" b="32184"/>
          <a:stretch>
            <a:fillRect/>
          </a:stretch>
        </p:blipFill>
        <p:spPr bwMode="auto">
          <a:xfrm>
            <a:off x="179388" y="14288"/>
            <a:ext cx="2376487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2</a:t>
            </a:fld>
            <a:endParaRPr lang="ru-RU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xmlns="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AB7F9214-65B7-4DA9-8E70-1F7568E6EF8E}"/>
              </a:ext>
            </a:extLst>
          </p:cNvPr>
          <p:cNvSpPr/>
          <p:nvPr/>
        </p:nvSpPr>
        <p:spPr>
          <a:xfrm>
            <a:off x="683568" y="1099765"/>
            <a:ext cx="75013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rgbClr val="FF0000"/>
                </a:solidFill>
              </a:rPr>
              <a:t>Ссылка на сайт ОО (вкладка Бережливое образование)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80C69605-A308-49CB-9EE4-51CA913D94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5782" y="2166979"/>
            <a:ext cx="6702174" cy="37699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" name="Рисунок 9" descr="gerd_mal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Прямоугольник 2"/>
          <p:cNvSpPr/>
          <p:nvPr/>
        </p:nvSpPr>
        <p:spPr>
          <a:xfrm>
            <a:off x="2250051" y="1587948"/>
            <a:ext cx="461363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5"/>
              </a:rPr>
              <a:t>http://</a:t>
            </a:r>
            <a:r>
              <a:rPr lang="ru-RU" dirty="0" smtClean="0">
                <a:hlinkClick r:id="rId5"/>
              </a:rPr>
              <a:t>мдоу445.рф/бережливый-детский-сад</a:t>
            </a:r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4804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084414" y="669774"/>
            <a:ext cx="7044877" cy="4549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79712" y="789013"/>
            <a:ext cx="5941347" cy="371264"/>
          </a:xfrm>
          <a:prstGeom prst="rect">
            <a:avLst/>
          </a:prstGeom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1" name="Picture 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14977" y="1700808"/>
            <a:ext cx="5930070" cy="4582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1000100" y="200024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250825" y="6500813"/>
            <a:ext cx="46085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36 ч. </a:t>
            </a:r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867626"/>
              </p:ext>
            </p:extLst>
          </p:nvPr>
        </p:nvGraphicFramePr>
        <p:xfrm>
          <a:off x="571472" y="2571744"/>
          <a:ext cx="1751856" cy="11348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арший воспитатель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дача бланков по группам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 часа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3936723"/>
              </p:ext>
            </p:extLst>
          </p:nvPr>
        </p:nvGraphicFramePr>
        <p:xfrm>
          <a:off x="4886178" y="5071122"/>
          <a:ext cx="3928268" cy="13715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92826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Расходные материалы (бумага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. Лишние передвижения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Переделка (ошибки, испорченные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бланки)</a:t>
                      </a:r>
                      <a:endParaRPr lang="ru-RU" altLang="ru-RU" sz="11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Несвоевременное заполнение (длительное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жидание)</a:t>
                      </a:r>
                      <a:endParaRPr lang="ru-RU" altLang="ru-RU" sz="11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285720" y="2500306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7358082" y="2357430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5437801" y="4692794"/>
            <a:ext cx="3457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642910" y="1428736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84" name="Пятно 1 60"/>
          <p:cNvSpPr/>
          <p:nvPr/>
        </p:nvSpPr>
        <p:spPr>
          <a:xfrm>
            <a:off x="3214678" y="1500174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02" name="Пятно 1 60"/>
          <p:cNvSpPr/>
          <p:nvPr/>
        </p:nvSpPr>
        <p:spPr>
          <a:xfrm>
            <a:off x="5500694" y="1643050"/>
            <a:ext cx="644525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1571604" y="1500174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250379" y="785794"/>
            <a:ext cx="889362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текущего состояния процесс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оптимизация внутрифирменной системы обмена рабочей информацией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1928223"/>
              </p:ext>
            </p:extLst>
          </p:nvPr>
        </p:nvGraphicFramePr>
        <p:xfrm>
          <a:off x="3000364" y="2571744"/>
          <a:ext cx="1751856" cy="11348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оспитател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полнение бланков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6 часов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1741590"/>
              </p:ext>
            </p:extLst>
          </p:nvPr>
        </p:nvGraphicFramePr>
        <p:xfrm>
          <a:off x="5500694" y="2571744"/>
          <a:ext cx="1751856" cy="11348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арший воспитатель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бланков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 часов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500430" y="2071678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6072198" y="2071678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5000628" y="300037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500298" y="2928934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5" name="Рисунок 4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868918515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34933" y="1500188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 выявлен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57750" y="2903826"/>
            <a:ext cx="3746698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 выявлен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876732" y="4428340"/>
            <a:ext cx="3865563" cy="1582737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Расходные материалы (бумага)  </a:t>
            </a:r>
          </a:p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Лишние передвижения</a:t>
            </a:r>
          </a:p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Переделка (ошибки, испорченные бланки)</a:t>
            </a:r>
          </a:p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своевременное заполнение (длительное ожидание)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428728" y="550070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2571736" y="550070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500298" y="4643446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Рисунок 22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17763241"/>
              </p:ext>
            </p:extLst>
          </p:nvPr>
        </p:nvGraphicFramePr>
        <p:xfrm>
          <a:off x="361949" y="1484784"/>
          <a:ext cx="7954467" cy="44199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442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116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52839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</a:t>
                      </a:r>
                      <a:r>
                        <a:rPr lang="ru-RU" alt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ные материалы (бумага</a:t>
                      </a:r>
                      <a:r>
                        <a:rPr lang="ru-RU" altLang="ru-RU" sz="14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  <a:endParaRPr lang="ru-RU" altLang="ru-RU" sz="14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мажные бланки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спользование электронной формы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</a:t>
                      </a:r>
                      <a:r>
                        <a:rPr lang="ru-RU" altLang="ru-RU" sz="14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Лишние передвижения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дистанционного ресурса для получения информации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дистанционного ресурса для получения информации</a:t>
                      </a:r>
                    </a:p>
                    <a:p>
                      <a:pPr algn="l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alt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Переделка (ошибки, испорченные</a:t>
                      </a:r>
                      <a:r>
                        <a:rPr lang="ru-RU" altLang="ru-RU" sz="14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бланки)</a:t>
                      </a:r>
                      <a:endParaRPr lang="ru-RU" altLang="ru-RU" sz="14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алгоритма заполнения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алгоритма заполнения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alt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Несвоевременное заполнение (длительное</a:t>
                      </a:r>
                      <a:r>
                        <a:rPr lang="ru-RU" altLang="ru-RU" sz="14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жидание)</a:t>
                      </a:r>
                      <a:endParaRPr lang="ru-RU" altLang="ru-RU" sz="1400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дистанционного ресурса для получения информации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дистанционного ресурса для получения информации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200074" y="5656022"/>
            <a:ext cx="4714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 ч. 5 </a:t>
            </a: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</a:t>
            </a:r>
            <a:r>
              <a:rPr lang="ru-RU" sz="16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7000892" y="2285992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88245" y="2471272"/>
            <a:ext cx="251520" cy="122413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0" y="1146188"/>
            <a:ext cx="8893621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Карта целевого состояния процесс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оптимизация внутрифирменной системы обмена рабочей информацией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4947789"/>
              </p:ext>
            </p:extLst>
          </p:nvPr>
        </p:nvGraphicFramePr>
        <p:xfrm>
          <a:off x="578941" y="2525881"/>
          <a:ext cx="1751856" cy="11348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арший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оспитатель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мещение ссылки на анкету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мин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1043608" y="200024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397976" y="292494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0435453"/>
              </p:ext>
            </p:extLst>
          </p:nvPr>
        </p:nvGraphicFramePr>
        <p:xfrm>
          <a:off x="2824550" y="2528786"/>
          <a:ext cx="1751856" cy="11348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оспитател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полнение анкеты по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ссылке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 ч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29295"/>
              </p:ext>
            </p:extLst>
          </p:nvPr>
        </p:nvGraphicFramePr>
        <p:xfrm>
          <a:off x="5076056" y="2560181"/>
          <a:ext cx="1751856" cy="11348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арший воспитатель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данных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 ч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37" name="Стрелка вправо 36"/>
          <p:cNvSpPr/>
          <p:nvPr/>
        </p:nvSpPr>
        <p:spPr>
          <a:xfrm>
            <a:off x="4644008" y="297525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3362200" y="200024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652120" y="2107098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45" name="Облако 44">
            <a:extLst>
              <a:ext uri="{FF2B5EF4-FFF2-40B4-BE49-F238E27FC236}">
                <a16:creationId xmlns:a16="http://schemas.microsoft.com/office/drawing/2014/main" xmlns="" id="{9ACCF01B-3199-413F-BB8D-FAEC7F3795E3}"/>
              </a:ext>
            </a:extLst>
          </p:cNvPr>
          <p:cNvSpPr/>
          <p:nvPr/>
        </p:nvSpPr>
        <p:spPr>
          <a:xfrm>
            <a:off x="214282" y="2000240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46" name="Облако 45">
            <a:extLst>
              <a:ext uri="{FF2B5EF4-FFF2-40B4-BE49-F238E27FC236}">
                <a16:creationId xmlns:a16="http://schemas.microsoft.com/office/drawing/2014/main" xmlns="" id="{E460C5E6-5047-4C75-8C7B-4DE90D77B07D}"/>
              </a:ext>
            </a:extLst>
          </p:cNvPr>
          <p:cNvSpPr/>
          <p:nvPr/>
        </p:nvSpPr>
        <p:spPr>
          <a:xfrm>
            <a:off x="4357686" y="1928802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</a:p>
        </p:txBody>
      </p:sp>
      <p:sp>
        <p:nvSpPr>
          <p:cNvPr id="47" name="Облако 46">
            <a:extLst>
              <a:ext uri="{FF2B5EF4-FFF2-40B4-BE49-F238E27FC236}">
                <a16:creationId xmlns:a16="http://schemas.microsoft.com/office/drawing/2014/main" xmlns="" id="{7710A555-C240-441B-877A-74BA51DF6CA7}"/>
              </a:ext>
            </a:extLst>
          </p:cNvPr>
          <p:cNvSpPr/>
          <p:nvPr/>
        </p:nvSpPr>
        <p:spPr>
          <a:xfrm>
            <a:off x="4714876" y="2214554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8BFCFCEC-6A8A-4879-960C-08B3AEDF6CD5}"/>
              </a:ext>
            </a:extLst>
          </p:cNvPr>
          <p:cNvSpPr txBox="1"/>
          <p:nvPr/>
        </p:nvSpPr>
        <p:spPr>
          <a:xfrm>
            <a:off x="5880700" y="4097744"/>
            <a:ext cx="3160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0110333"/>
              </p:ext>
            </p:extLst>
          </p:nvPr>
        </p:nvGraphicFramePr>
        <p:xfrm>
          <a:off x="5993927" y="4661520"/>
          <a:ext cx="2933746" cy="94486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9337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1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дистанционного ресурса для получения информации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11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здание алгоритма заполнения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11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спользование электронной формы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48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9" name="Рисунок 48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97557767"/>
              </p:ext>
            </p:extLst>
          </p:nvPr>
        </p:nvGraphicFramePr>
        <p:xfrm>
          <a:off x="361949" y="1484785"/>
          <a:ext cx="8567769" cy="54094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689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5118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500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5149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539178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жидаемый результат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1424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12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ходные материалы (бумага)</a:t>
                      </a:r>
                      <a:endParaRPr lang="ru-RU" altLang="ru-RU" sz="12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спользуется электронная </a:t>
                      </a:r>
                      <a:r>
                        <a:rPr lang="en-US" sz="1200" b="1" kern="1200" dirty="0" err="1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yandex</a:t>
                      </a: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-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форма для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получения информации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, которая значительно экономит расход бумаги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рший воспитатель Глазкова Н.В.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1.03.2023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ланки заполняются в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электронной </a:t>
                      </a:r>
                      <a:r>
                        <a:rPr lang="en-US" sz="1200" b="1" kern="1200" dirty="0" err="1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yandex</a:t>
                      </a: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-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форме, распечатывать и раздавать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бумажные бланки нет необходимости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33458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ru-RU" alt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Лишние передвижения при раздаче и</a:t>
                      </a:r>
                      <a:r>
                        <a:rPr lang="ru-RU" altLang="ru-RU" sz="12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боре бланков</a:t>
                      </a:r>
                      <a:endParaRPr lang="ru-RU" altLang="ru-RU" sz="1200" b="0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рабочего чата в ВК </a:t>
                      </a:r>
                      <a:r>
                        <a:rPr lang="ru-RU" sz="12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сенджере</a:t>
                      </a: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в котором размещается ссылка на анкету</a:t>
                      </a:r>
                    </a:p>
                    <a:p>
                      <a:pPr algn="just"/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м. зав. по УВР Новикова С.В.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1.04.2023</a:t>
                      </a:r>
                      <a:endParaRPr kumimoji="0" lang="ru-RU" altLang="ru-RU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 рабочий чат в ВК </a:t>
                      </a:r>
                      <a:r>
                        <a:rPr lang="ru-RU" sz="12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сенджере</a:t>
                      </a:r>
                      <a:endParaRPr kumimoji="0" lang="ru-RU" altLang="ru-RU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95630">
                <a:tc>
                  <a:txBody>
                    <a:bodyPr/>
                    <a:lstStyle/>
                    <a:p>
                      <a:pPr algn="l"/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lang="ru-RU" alt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Переделка (ошибки, испорченные</a:t>
                      </a:r>
                      <a:r>
                        <a:rPr lang="ru-RU" altLang="ru-RU" sz="12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бланки)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алгоритма обмена рабочей информацией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м. зав. по УВР Новикова С.В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7.04.2023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 алгоритм обмена рабочей информацией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75283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 </a:t>
                      </a:r>
                      <a:r>
                        <a:rPr lang="ru-RU" alt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Несвоевременное заполнение (длительное</a:t>
                      </a:r>
                      <a:r>
                        <a:rPr lang="ru-RU" altLang="ru-RU" sz="12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жидание)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рабочего чата в ВК </a:t>
                      </a:r>
                      <a:r>
                        <a:rPr lang="ru-RU" sz="12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сенджере</a:t>
                      </a: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в котором размещается и дублируется информация по срокам предоставления информации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м. зав. по УВР Новикова С.В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1.04.2023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 рабочий чат в ВК </a:t>
                      </a:r>
                      <a:r>
                        <a:rPr lang="ru-RU" sz="12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сенджере</a:t>
                      </a:r>
                      <a:endParaRPr kumimoji="0" lang="ru-RU" altLang="ru-RU" sz="12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результаты (было и стало) </a:t>
            </a:r>
          </a:p>
        </p:txBody>
      </p:sp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61606" y="1484784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8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528" y="2420892"/>
            <a:ext cx="3714750" cy="20313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    </a:t>
            </a:r>
            <a:r>
              <a:rPr lang="ru-RU" sz="2800" dirty="0" smtClean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36 часов</a:t>
            </a:r>
            <a:endParaRPr lang="ru-RU" sz="2800" dirty="0">
              <a:solidFill>
                <a:srgbClr val="2992A7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sz="2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355654" y="2342492"/>
            <a:ext cx="3714750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СТА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 smtClean="0">
                <a:solidFill>
                  <a:srgbClr val="0B7B87"/>
                </a:solidFill>
                <a:cs typeface="Arial" panose="020B0604020202020204" pitchFamily="34" charset="0"/>
              </a:rPr>
              <a:t>10 часов 5 минут</a:t>
            </a:r>
            <a:endParaRPr lang="ru-RU" sz="2800" dirty="0">
              <a:solidFill>
                <a:srgbClr val="0B7B87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en-US" sz="2800" b="1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ВРЕМЕНИ или  других ресурсов:  </a:t>
            </a:r>
          </a:p>
          <a:p>
            <a:pPr algn="ctr"/>
            <a:r>
              <a:rPr lang="ru-RU" altLang="ru-RU" b="1" dirty="0" smtClean="0">
                <a:solidFill>
                  <a:srgbClr val="002060"/>
                </a:solidFill>
              </a:rPr>
              <a:t>25 часов 55 минут</a:t>
            </a:r>
            <a:endParaRPr lang="ru-RU" altLang="ru-RU" b="1" dirty="0">
              <a:solidFill>
                <a:srgbClr val="002060"/>
              </a:solidFill>
            </a:endParaRPr>
          </a:p>
          <a:p>
            <a:pPr algn="ctr"/>
            <a:r>
              <a:rPr lang="ru-RU" altLang="ru-RU" b="1" dirty="0" smtClean="0">
                <a:solidFill>
                  <a:srgbClr val="002060"/>
                </a:solidFill>
              </a:rPr>
              <a:t>72%</a:t>
            </a:r>
            <a:endParaRPr lang="ru-RU" altLang="ru-RU" b="1" dirty="0">
              <a:solidFill>
                <a:srgbClr val="002060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331647" y="3789042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251520" y="4982770"/>
            <a:ext cx="820826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ВРЕМЕННЫХ ПОТЕРЬ  ЗА СЧЕТ 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. Перевод данных в электронную форму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. Создание группы в ВК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мессенджере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для дистанционного обмена рабочей информацией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оздан алгоритм работы по обмену рабочей информацией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1" name="Рисунок 20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23988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67E098DF-3089-4F1F-8A1D-75A1407185D3}"/>
              </a:ext>
            </a:extLst>
          </p:cNvPr>
          <p:cNvSpPr/>
          <p:nvPr/>
        </p:nvSpPr>
        <p:spPr>
          <a:xfrm>
            <a:off x="5000628" y="1142984"/>
            <a:ext cx="3960440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6C35B742-BC40-4565-B4B2-29D3173AEB69}"/>
              </a:ext>
            </a:extLst>
          </p:cNvPr>
          <p:cNvSpPr/>
          <p:nvPr/>
        </p:nvSpPr>
        <p:spPr>
          <a:xfrm>
            <a:off x="755576" y="378904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2BF29339-E006-4902-8017-CC0490F48467}"/>
              </a:ext>
            </a:extLst>
          </p:cNvPr>
          <p:cNvSpPr/>
          <p:nvPr/>
        </p:nvSpPr>
        <p:spPr>
          <a:xfrm>
            <a:off x="4644007" y="3813781"/>
            <a:ext cx="3897789" cy="235152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57FDE22F-8DC2-4596-831C-F85C6A7E521F}"/>
              </a:ext>
            </a:extLst>
          </p:cNvPr>
          <p:cNvSpPr txBox="1">
            <a:spLocks/>
          </p:cNvSpPr>
          <p:nvPr/>
        </p:nvSpPr>
        <p:spPr>
          <a:xfrm>
            <a:off x="2214546" y="1071546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 smtClean="0">
                <a:solidFill>
                  <a:srgbClr val="FF0000"/>
                </a:solidFill>
              </a:rPr>
              <a:t>до</a:t>
            </a:r>
            <a:r>
              <a:rPr lang="ru-RU" sz="3200" dirty="0" smtClean="0">
                <a:solidFill>
                  <a:srgbClr val="FF0000"/>
                </a:solidFill>
              </a:rPr>
              <a:t> </a:t>
            </a:r>
            <a:endParaRPr lang="ru-RU" sz="3200" dirty="0">
              <a:solidFill>
                <a:srgbClr val="FF0000"/>
              </a:solidFill>
            </a:endParaRPr>
          </a:p>
        </p:txBody>
      </p:sp>
      <p:pic>
        <p:nvPicPr>
          <p:cNvPr id="20" name="Picture 3">
            <a:extLst>
              <a:ext uri="{FF2B5EF4-FFF2-40B4-BE49-F238E27FC236}">
                <a16:creationId xmlns:a16="http://schemas.microsoft.com/office/drawing/2014/main" xmlns="" id="{3A361451-B339-4836-9FEB-42DD930E0C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97839" y="4179931"/>
            <a:ext cx="2485517" cy="1864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EB47E8FE-4A20-4883-B30B-C5AB45F41B91}"/>
              </a:ext>
            </a:extLst>
          </p:cNvPr>
          <p:cNvSpPr/>
          <p:nvPr/>
        </p:nvSpPr>
        <p:spPr>
          <a:xfrm>
            <a:off x="1707751" y="3768450"/>
            <a:ext cx="20656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ФОТО </a:t>
            </a:r>
            <a:r>
              <a:rPr lang="ru-RU" dirty="0" err="1">
                <a:solidFill>
                  <a:srgbClr val="FF0000"/>
                </a:solidFill>
              </a:rPr>
              <a:t>Обея</a:t>
            </a:r>
            <a:r>
              <a:rPr lang="ru-RU" dirty="0">
                <a:solidFill>
                  <a:srgbClr val="FF0000"/>
                </a:solidFill>
              </a:rPr>
              <a:t> (стенд)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7482694F-AFE6-47A8-994B-7042E6676124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29322" y="1714488"/>
            <a:ext cx="2143140" cy="1607356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B92556A8-B763-43FB-846E-84E9900BA865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flipH="1">
            <a:off x="5000628" y="4500570"/>
            <a:ext cx="1571636" cy="1571636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07C11CA5-1A11-435A-907F-3F8DD658125F}"/>
              </a:ext>
            </a:extLst>
          </p:cNvPr>
          <p:cNvSpPr/>
          <p:nvPr/>
        </p:nvSpPr>
        <p:spPr>
          <a:xfrm>
            <a:off x="4781977" y="3760541"/>
            <a:ext cx="37598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FF0000"/>
                </a:solidFill>
              </a:rPr>
              <a:t>ФОТО</a:t>
            </a:r>
          </a:p>
          <a:p>
            <a:pPr algn="ctr"/>
            <a:r>
              <a:rPr lang="ru-RU" sz="1400" dirty="0" smtClean="0">
                <a:solidFill>
                  <a:srgbClr val="FF0000"/>
                </a:solidFill>
              </a:rPr>
              <a:t>Работа </a:t>
            </a:r>
            <a:r>
              <a:rPr lang="ru-RU" sz="1400" dirty="0">
                <a:solidFill>
                  <a:srgbClr val="FF0000"/>
                </a:solidFill>
              </a:rPr>
              <a:t>над </a:t>
            </a:r>
            <a:r>
              <a:rPr lang="ru-RU" sz="1400" dirty="0" smtClean="0">
                <a:solidFill>
                  <a:srgbClr val="FF0000"/>
                </a:solidFill>
              </a:rPr>
              <a:t>картой текущего или целевого  состояния («ручной» вариант)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9" name="Рисунок 18" descr="gerd_mal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9905D804-20F2-40AB-A784-CC33BE5AEA56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428860" y="2143116"/>
            <a:ext cx="1785950" cy="1339462"/>
          </a:xfrm>
          <a:prstGeom prst="rect">
            <a:avLst/>
          </a:prstGeom>
        </p:spPr>
      </p:pic>
      <p:pic>
        <p:nvPicPr>
          <p:cNvPr id="43011" name="Picture 3" descr="D:\Загрузки\WhatsApp Image 2023-11-24 at 13.45.32.jpe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57224" y="1428736"/>
            <a:ext cx="1857388" cy="1393041"/>
          </a:xfrm>
          <a:prstGeom prst="rect">
            <a:avLst/>
          </a:prstGeom>
          <a:noFill/>
        </p:spPr>
      </p:pic>
      <p:pic>
        <p:nvPicPr>
          <p:cNvPr id="43012" name="Picture 4" descr="D:\Загрузки\WhatsApp Image 2023-11-24 at 13.34.39.jpe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858280" y="6643710"/>
            <a:ext cx="3333719" cy="2500289"/>
          </a:xfrm>
          <a:prstGeom prst="rect">
            <a:avLst/>
          </a:prstGeom>
          <a:noFill/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6C35B742-BC40-4565-B4B2-29D3173AEB69}"/>
              </a:ext>
            </a:extLst>
          </p:cNvPr>
          <p:cNvSpPr/>
          <p:nvPr/>
        </p:nvSpPr>
        <p:spPr>
          <a:xfrm>
            <a:off x="642910" y="1142984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xmlns="" id="{57FDE22F-8DC2-4596-831C-F85C6A7E521F}"/>
              </a:ext>
            </a:extLst>
          </p:cNvPr>
          <p:cNvSpPr txBox="1">
            <a:spLocks/>
          </p:cNvSpPr>
          <p:nvPr/>
        </p:nvSpPr>
        <p:spPr>
          <a:xfrm>
            <a:off x="5929322" y="1214422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 smtClean="0">
                <a:solidFill>
                  <a:srgbClr val="FF0000"/>
                </a:solidFill>
              </a:rPr>
              <a:t>после</a:t>
            </a:r>
            <a:r>
              <a:rPr lang="ru-RU" sz="3200" dirty="0" smtClean="0">
                <a:solidFill>
                  <a:srgbClr val="FF0000"/>
                </a:solidFill>
              </a:rPr>
              <a:t> </a:t>
            </a:r>
            <a:endParaRPr lang="ru-RU" sz="3200" dirty="0">
              <a:solidFill>
                <a:srgbClr val="FF0000"/>
              </a:solidFill>
            </a:endParaRPr>
          </a:p>
        </p:txBody>
      </p:sp>
      <p:pic>
        <p:nvPicPr>
          <p:cNvPr id="30" name="Picture 3">
            <a:extLst>
              <a:ext uri="{FF2B5EF4-FFF2-40B4-BE49-F238E27FC236}">
                <a16:creationId xmlns:a16="http://schemas.microsoft.com/office/drawing/2014/main" xmlns="" id="{3A361451-B339-4836-9FEB-42DD930E0C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tretch>
            <a:fillRect/>
          </a:stretch>
        </p:blipFill>
        <p:spPr bwMode="auto">
          <a:xfrm>
            <a:off x="6786578" y="4500570"/>
            <a:ext cx="1511916" cy="1511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22711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60</TotalTime>
  <Words>735</Words>
  <Application>Microsoft Office PowerPoint</Application>
  <PresentationFormat>Экран (4:3)</PresentationFormat>
  <Paragraphs>175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8" baseType="lpstr">
      <vt:lpstr>Arial</vt:lpstr>
      <vt:lpstr>Calibri</vt:lpstr>
      <vt:lpstr>Franklin Gothic Book</vt:lpstr>
      <vt:lpstr>Times New Roman</vt:lpstr>
      <vt:lpstr>Тема Office</vt:lpstr>
      <vt:lpstr>think-cell Slide</vt:lpstr>
      <vt:lpstr>Администрация города Челябинска</vt:lpstr>
      <vt:lpstr>Презентация PowerPoint</vt:lpstr>
      <vt:lpstr>Администрация города Челябинска</vt:lpstr>
      <vt:lpstr>Администрация города Челябинска</vt:lpstr>
      <vt:lpstr>Презентация PowerPoint</vt:lpstr>
      <vt:lpstr>Администрация города Челябинска</vt:lpstr>
      <vt:lpstr>Администрация города Челябинска</vt:lpstr>
      <vt:lpstr>Достигнутые результаты (было и стало) </vt:lpstr>
      <vt:lpstr>Презентация PowerPoint</vt:lpstr>
      <vt:lpstr>Алгоритм процесса внутрифирменного обмена рабочей информацией</vt:lpstr>
      <vt:lpstr>Стандартизация процесса (алгоритм) «Внутрифирменного обмена рабочей информацией »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Пользователь Windows</cp:lastModifiedBy>
  <cp:revision>142</cp:revision>
  <cp:lastPrinted>2023-11-24T09:21:42Z</cp:lastPrinted>
  <dcterms:created xsi:type="dcterms:W3CDTF">2018-08-20T14:01:12Z</dcterms:created>
  <dcterms:modified xsi:type="dcterms:W3CDTF">2023-11-24T09:36:35Z</dcterms:modified>
</cp:coreProperties>
</file>